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3" r:id="rId1"/>
  </p:sldMasterIdLst>
  <p:notesMasterIdLst>
    <p:notesMasterId r:id="rId10"/>
  </p:notesMasterIdLst>
  <p:handoutMasterIdLst>
    <p:handoutMasterId r:id="rId11"/>
  </p:handoutMasterIdLst>
  <p:sldIdLst>
    <p:sldId id="295" r:id="rId2"/>
    <p:sldId id="296" r:id="rId3"/>
    <p:sldId id="297" r:id="rId4"/>
    <p:sldId id="298" r:id="rId5"/>
    <p:sldId id="299" r:id="rId6"/>
    <p:sldId id="300" r:id="rId7"/>
    <p:sldId id="301" r:id="rId8"/>
    <p:sldId id="302" r:id="rId9"/>
  </p:sldIdLst>
  <p:sldSz cx="9144000" cy="6858000" type="screen4x3"/>
  <p:notesSz cx="6797675" cy="9926638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7A9"/>
    <a:srgbClr val="F53D4F"/>
    <a:srgbClr val="CC99FF"/>
    <a:srgbClr val="33CCFF"/>
    <a:srgbClr val="99FFCC"/>
    <a:srgbClr val="1C3CA6"/>
    <a:srgbClr val="66CCFF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>
        <p:scale>
          <a:sx n="75" d="100"/>
          <a:sy n="75" d="100"/>
        </p:scale>
        <p:origin x="-2580" y="-780"/>
      </p:cViewPr>
      <p:guideLst>
        <p:guide orient="horz" pos="2341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72FA0F-4550-41D7-833D-51E91B75B820}" type="datetimeFigureOut">
              <a:rPr lang="it-IT" smtClean="0"/>
              <a:pPr/>
              <a:t>12/11/2015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32FBC7-6720-43F2-9DC4-84DACF8E1C97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1836165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465FB3-08B5-46A8-BCB4-232252EA10C1}" type="datetimeFigureOut">
              <a:rPr lang="it-IT" smtClean="0"/>
              <a:pPr/>
              <a:t>12/11/2015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C3E578-7FA9-4B78-A26C-863262BCD752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7619087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91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272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91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 smtClean="0"/>
              <a:t>Click to edit Master title style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4976" y="1509713"/>
            <a:ext cx="8274051" cy="4613275"/>
          </a:xfrm>
        </p:spPr>
        <p:txBody>
          <a:bodyPr/>
          <a:lstStyle>
            <a:lvl1pPr marL="230400" indent="-230400">
              <a:buFont typeface="Calibri" pitchFamily="34" charset="0"/>
              <a:buChar char="→"/>
              <a:defRPr b="0"/>
            </a:lvl1pPr>
            <a:lvl2pPr marL="457200" indent="-230400">
              <a:buFont typeface="Arial" pitchFamily="34" charset="0"/>
              <a:buChar char="•"/>
              <a:defRPr/>
            </a:lvl2pPr>
            <a:lvl3pPr marL="914400">
              <a:buFont typeface="Calibri" pitchFamily="34" charset="0"/>
              <a:buChar char="–"/>
              <a:defRPr/>
            </a:lvl3pPr>
            <a:lvl4pPr marL="1371600">
              <a:buFont typeface="Trebuchet MS" pitchFamily="34" charset="0"/>
              <a:buChar char="–"/>
              <a:defRPr/>
            </a:lvl4pPr>
          </a:lstStyle>
          <a:p>
            <a:pPr lvl="0"/>
            <a:r>
              <a:rPr lang="it-IT" smtClean="0"/>
              <a:t>Click to edit Master text styles</a:t>
            </a:r>
          </a:p>
          <a:p>
            <a:pPr lvl="1"/>
            <a:r>
              <a:rPr lang="it-IT" smtClean="0"/>
              <a:t>Second level</a:t>
            </a:r>
          </a:p>
          <a:p>
            <a:pPr lvl="2"/>
            <a:r>
              <a:rPr lang="it-IT" smtClean="0"/>
              <a:t>Third level</a:t>
            </a:r>
          </a:p>
          <a:p>
            <a:pPr lvl="3"/>
            <a:r>
              <a:rPr lang="it-IT" smtClean="0"/>
              <a:t>Fourth level</a:t>
            </a:r>
            <a:endParaRPr lang="it-IT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4975" y="332655"/>
            <a:ext cx="8274050" cy="662707"/>
          </a:xfrm>
        </p:spPr>
        <p:txBody>
          <a:bodyPr/>
          <a:lstStyle/>
          <a:p>
            <a:r>
              <a:rPr lang="it-IT" smtClean="0"/>
              <a:t>Click to edit Master title style</a:t>
            </a:r>
            <a:endParaRPr lang="it-I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466" y="1591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965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3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91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606" name="Freeform 6"/>
          <p:cNvSpPr>
            <a:spLocks noChangeAspect="1"/>
          </p:cNvSpPr>
          <p:nvPr/>
        </p:nvSpPr>
        <p:spPr bwMode="auto">
          <a:xfrm>
            <a:off x="6594232" y="6345632"/>
            <a:ext cx="2549769" cy="512371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 rtl="0" fontAlgn="base">
              <a:spcBef>
                <a:spcPct val="50000"/>
              </a:spcBef>
              <a:spcAft>
                <a:spcPct val="0"/>
              </a:spcAft>
            </a:pPr>
            <a:endParaRPr lang="it-IT" sz="1200" kern="1200" dirty="0" smtClean="0">
              <a:solidFill>
                <a:srgbClr val="00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4975" y="163513"/>
            <a:ext cx="8274050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 dirty="0" smtClean="0"/>
              <a:t>Slide </a:t>
            </a:r>
            <a:r>
              <a:rPr lang="it-IT" dirty="0" err="1" smtClean="0"/>
              <a:t>title</a:t>
            </a:r>
            <a:endParaRPr lang="it-IT" dirty="0" smtClean="0"/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4975" y="1509714"/>
            <a:ext cx="8274050" cy="4613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dirty="0" smtClean="0"/>
              <a:t>Body text</a:t>
            </a:r>
          </a:p>
          <a:p>
            <a:pPr lvl="1"/>
            <a:r>
              <a:rPr lang="it-IT" dirty="0" smtClean="0"/>
              <a:t>First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2"/>
            <a:r>
              <a:rPr lang="it-IT" dirty="0" err="1" smtClean="0"/>
              <a:t>Second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3"/>
            <a:r>
              <a:rPr lang="it-IT" dirty="0" err="1" smtClean="0"/>
              <a:t>Third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4"/>
            <a:r>
              <a:rPr lang="it-IT" dirty="0" err="1" smtClean="0"/>
              <a:t>Quotation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 smtClean="0"/>
          </a:p>
        </p:txBody>
      </p:sp>
      <p:grpSp>
        <p:nvGrpSpPr>
          <p:cNvPr id="46" name="Group 45"/>
          <p:cNvGrpSpPr/>
          <p:nvPr/>
        </p:nvGrpSpPr>
        <p:grpSpPr>
          <a:xfrm>
            <a:off x="7037015" y="6505578"/>
            <a:ext cx="1832356" cy="226515"/>
            <a:chOff x="4653757" y="2387600"/>
            <a:chExt cx="5606520" cy="639763"/>
          </a:xfrm>
        </p:grpSpPr>
        <p:sp>
          <p:nvSpPr>
            <p:cNvPr id="47" name="Freeform 6"/>
            <p:cNvSpPr>
              <a:spLocks noEditPoints="1"/>
            </p:cNvSpPr>
            <p:nvPr userDrawn="1"/>
          </p:nvSpPr>
          <p:spPr bwMode="auto">
            <a:xfrm>
              <a:off x="6810376" y="2570163"/>
              <a:ext cx="524536" cy="457200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 rtl="0" fontAlgn="base">
                <a:spcBef>
                  <a:spcPct val="50000"/>
                </a:spcBef>
                <a:spcAft>
                  <a:spcPct val="0"/>
                </a:spcAft>
              </a:pPr>
              <a:endParaRPr lang="it-IT" sz="1200" kern="1200" dirty="0">
                <a:solidFill>
                  <a:srgbClr val="FFFFFF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8" name="Freeform 7"/>
            <p:cNvSpPr>
              <a:spLocks noEditPoints="1"/>
            </p:cNvSpPr>
            <p:nvPr userDrawn="1"/>
          </p:nvSpPr>
          <p:spPr bwMode="auto">
            <a:xfrm>
              <a:off x="4653757" y="2393950"/>
              <a:ext cx="615685" cy="620712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 rtl="0" fontAlgn="base">
                <a:spcBef>
                  <a:spcPct val="50000"/>
                </a:spcBef>
                <a:spcAft>
                  <a:spcPct val="0"/>
                </a:spcAft>
              </a:pPr>
              <a:endParaRPr lang="it-IT" sz="1200" kern="1200" dirty="0">
                <a:solidFill>
                  <a:srgbClr val="FFFFFF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9" name="Freeform 8"/>
            <p:cNvSpPr>
              <a:spLocks noEditPoints="1"/>
            </p:cNvSpPr>
            <p:nvPr userDrawn="1"/>
          </p:nvSpPr>
          <p:spPr bwMode="auto">
            <a:xfrm>
              <a:off x="5276321" y="2570163"/>
              <a:ext cx="565811" cy="457200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 rtl="0" fontAlgn="base">
                <a:spcBef>
                  <a:spcPct val="50000"/>
                </a:spcBef>
                <a:spcAft>
                  <a:spcPct val="0"/>
                </a:spcAft>
              </a:pPr>
              <a:endParaRPr lang="it-IT" sz="1200" kern="1200" dirty="0">
                <a:solidFill>
                  <a:srgbClr val="FFFFFF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0" name="Freeform 9"/>
            <p:cNvSpPr>
              <a:spLocks/>
            </p:cNvSpPr>
            <p:nvPr userDrawn="1"/>
          </p:nvSpPr>
          <p:spPr bwMode="auto">
            <a:xfrm>
              <a:off x="5876529" y="2570163"/>
              <a:ext cx="471223" cy="457200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 rtl="0" fontAlgn="base">
                <a:spcBef>
                  <a:spcPct val="50000"/>
                </a:spcBef>
                <a:spcAft>
                  <a:spcPct val="0"/>
                </a:spcAft>
              </a:pPr>
              <a:endParaRPr lang="it-IT" sz="1200" kern="1200" dirty="0">
                <a:solidFill>
                  <a:srgbClr val="FFFFFF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1" name="Freeform 10"/>
            <p:cNvSpPr>
              <a:spLocks/>
            </p:cNvSpPr>
            <p:nvPr userDrawn="1"/>
          </p:nvSpPr>
          <p:spPr bwMode="auto">
            <a:xfrm>
              <a:off x="6375269" y="2454276"/>
              <a:ext cx="386953" cy="573087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 rtl="0" fontAlgn="base">
                <a:spcBef>
                  <a:spcPct val="50000"/>
                </a:spcBef>
                <a:spcAft>
                  <a:spcPct val="0"/>
                </a:spcAft>
              </a:pPr>
              <a:endParaRPr lang="it-IT" sz="1200" kern="1200" dirty="0">
                <a:solidFill>
                  <a:srgbClr val="FFFFFF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2" name="Freeform 11"/>
            <p:cNvSpPr>
              <a:spLocks noEditPoints="1"/>
            </p:cNvSpPr>
            <p:nvPr userDrawn="1"/>
          </p:nvSpPr>
          <p:spPr bwMode="auto">
            <a:xfrm>
              <a:off x="7405423" y="2387600"/>
              <a:ext cx="110067" cy="62071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 rtl="0" fontAlgn="base">
                <a:spcBef>
                  <a:spcPct val="50000"/>
                </a:spcBef>
                <a:spcAft>
                  <a:spcPct val="0"/>
                </a:spcAft>
              </a:pPr>
              <a:endParaRPr lang="it-IT" sz="1200" kern="1200" dirty="0">
                <a:solidFill>
                  <a:srgbClr val="FFFFFF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3" name="Freeform 12"/>
            <p:cNvSpPr>
              <a:spLocks noEditPoints="1"/>
            </p:cNvSpPr>
            <p:nvPr userDrawn="1"/>
          </p:nvSpPr>
          <p:spPr bwMode="auto">
            <a:xfrm>
              <a:off x="7405423" y="2387600"/>
              <a:ext cx="110067" cy="62071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 rtl="0" fontAlgn="base">
                <a:spcBef>
                  <a:spcPct val="50000"/>
                </a:spcBef>
                <a:spcAft>
                  <a:spcPct val="0"/>
                </a:spcAft>
              </a:pPr>
              <a:endParaRPr lang="it-IT" sz="1200" kern="1200" dirty="0">
                <a:solidFill>
                  <a:srgbClr val="FFFFFF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reeform 13"/>
            <p:cNvSpPr>
              <a:spLocks/>
            </p:cNvSpPr>
            <p:nvPr userDrawn="1"/>
          </p:nvSpPr>
          <p:spPr bwMode="auto">
            <a:xfrm>
              <a:off x="7570524" y="2460626"/>
              <a:ext cx="290644" cy="560387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 rtl="0" fontAlgn="base">
                <a:spcBef>
                  <a:spcPct val="50000"/>
                </a:spcBef>
                <a:spcAft>
                  <a:spcPct val="0"/>
                </a:spcAft>
              </a:pPr>
              <a:endParaRPr lang="it-IT" sz="1200" kern="1200" dirty="0">
                <a:solidFill>
                  <a:srgbClr val="FFFFFF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5" name="Freeform 14"/>
            <p:cNvSpPr>
              <a:spLocks noEditPoints="1"/>
            </p:cNvSpPr>
            <p:nvPr userDrawn="1"/>
          </p:nvSpPr>
          <p:spPr bwMode="auto">
            <a:xfrm>
              <a:off x="7902444" y="2563813"/>
              <a:ext cx="421348" cy="457200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 rtl="0" fontAlgn="base">
                <a:spcBef>
                  <a:spcPct val="50000"/>
                </a:spcBef>
                <a:spcAft>
                  <a:spcPct val="0"/>
                </a:spcAft>
              </a:pPr>
              <a:endParaRPr lang="it-IT" sz="1200" kern="1200" dirty="0">
                <a:solidFill>
                  <a:srgbClr val="FFFFFF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6" name="Rectangle 15"/>
            <p:cNvSpPr>
              <a:spLocks noChangeArrowheads="1"/>
            </p:cNvSpPr>
            <p:nvPr userDrawn="1"/>
          </p:nvSpPr>
          <p:spPr bwMode="auto">
            <a:xfrm>
              <a:off x="8414941" y="2387600"/>
              <a:ext cx="89429" cy="620712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 rtl="0" fontAlgn="base">
                <a:spcBef>
                  <a:spcPct val="50000"/>
                </a:spcBef>
                <a:spcAft>
                  <a:spcPct val="0"/>
                </a:spcAft>
              </a:pPr>
              <a:endParaRPr lang="it-IT" sz="1200" kern="1200" dirty="0">
                <a:solidFill>
                  <a:srgbClr val="FFFFFF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" name="Freeform 16"/>
            <p:cNvSpPr>
              <a:spLocks noEditPoints="1"/>
            </p:cNvSpPr>
            <p:nvPr userDrawn="1"/>
          </p:nvSpPr>
          <p:spPr bwMode="auto">
            <a:xfrm>
              <a:off x="8614437" y="2387600"/>
              <a:ext cx="110067" cy="62071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 rtl="0" fontAlgn="base">
                <a:spcBef>
                  <a:spcPct val="50000"/>
                </a:spcBef>
                <a:spcAft>
                  <a:spcPct val="0"/>
                </a:spcAft>
              </a:pPr>
              <a:endParaRPr lang="it-IT" sz="1200" kern="1200" dirty="0">
                <a:solidFill>
                  <a:srgbClr val="FFFFFF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8" name="Freeform 17"/>
            <p:cNvSpPr>
              <a:spLocks noEditPoints="1"/>
            </p:cNvSpPr>
            <p:nvPr userDrawn="1"/>
          </p:nvSpPr>
          <p:spPr bwMode="auto">
            <a:xfrm>
              <a:off x="8614437" y="2387600"/>
              <a:ext cx="110067" cy="62071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 rtl="0" fontAlgn="base">
                <a:spcBef>
                  <a:spcPct val="50000"/>
                </a:spcBef>
                <a:spcAft>
                  <a:spcPct val="0"/>
                </a:spcAft>
              </a:pPr>
              <a:endParaRPr lang="it-IT" sz="1200" kern="1200" dirty="0">
                <a:solidFill>
                  <a:srgbClr val="FFFFFF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9" name="Freeform 18"/>
            <p:cNvSpPr>
              <a:spLocks noEditPoints="1"/>
            </p:cNvSpPr>
            <p:nvPr userDrawn="1"/>
          </p:nvSpPr>
          <p:spPr bwMode="auto">
            <a:xfrm>
              <a:off x="8801894" y="2563813"/>
              <a:ext cx="412750" cy="457200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 rtl="0" fontAlgn="base">
                <a:spcBef>
                  <a:spcPct val="50000"/>
                </a:spcBef>
                <a:spcAft>
                  <a:spcPct val="0"/>
                </a:spcAft>
              </a:pPr>
              <a:endParaRPr lang="it-IT" sz="1200" kern="1200" dirty="0">
                <a:solidFill>
                  <a:srgbClr val="FFFFFF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Freeform 19"/>
            <p:cNvSpPr>
              <a:spLocks/>
            </p:cNvSpPr>
            <p:nvPr userDrawn="1"/>
          </p:nvSpPr>
          <p:spPr bwMode="auto">
            <a:xfrm>
              <a:off x="9312673" y="2563813"/>
              <a:ext cx="428228" cy="444500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 rtl="0" fontAlgn="base">
                <a:spcBef>
                  <a:spcPct val="50000"/>
                </a:spcBef>
                <a:spcAft>
                  <a:spcPct val="0"/>
                </a:spcAft>
              </a:pPr>
              <a:endParaRPr lang="it-IT" sz="1200" kern="1200" dirty="0">
                <a:solidFill>
                  <a:srgbClr val="FFFFFF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1" name="Freeform 20"/>
            <p:cNvSpPr>
              <a:spLocks noEditPoints="1"/>
            </p:cNvSpPr>
            <p:nvPr userDrawn="1"/>
          </p:nvSpPr>
          <p:spPr bwMode="auto">
            <a:xfrm>
              <a:off x="9809692" y="2563813"/>
              <a:ext cx="450585" cy="457200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 rtl="0" fontAlgn="base">
                <a:spcBef>
                  <a:spcPct val="50000"/>
                </a:spcBef>
                <a:spcAft>
                  <a:spcPct val="0"/>
                </a:spcAft>
              </a:pPr>
              <a:endParaRPr lang="it-IT" sz="1200" kern="1200" dirty="0">
                <a:solidFill>
                  <a:srgbClr val="FFFFFF"/>
                </a:solidFill>
                <a:latin typeface="+mn-lt"/>
                <a:ea typeface="+mn-ea"/>
                <a:cs typeface="+mn-cs"/>
              </a:endParaRPr>
            </a:p>
          </p:txBody>
        </p:sp>
      </p:grpSp>
      <p:grpSp>
        <p:nvGrpSpPr>
          <p:cNvPr id="62" name="Group 61"/>
          <p:cNvGrpSpPr/>
          <p:nvPr/>
        </p:nvGrpSpPr>
        <p:grpSpPr>
          <a:xfrm>
            <a:off x="0" y="972269"/>
            <a:ext cx="9144000" cy="40942"/>
            <a:chOff x="0" y="1187350"/>
            <a:chExt cx="9144000" cy="40942"/>
          </a:xfrm>
        </p:grpSpPr>
        <p:cxnSp>
          <p:nvCxnSpPr>
            <p:cNvPr id="63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9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4572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algn="l" defTabSz="889000" rtl="0" eaLnBrk="1" fontAlgn="base" hangingPunct="1">
        <a:spcBef>
          <a:spcPct val="20000"/>
        </a:spcBef>
        <a:spcAft>
          <a:spcPct val="0"/>
        </a:spcAft>
        <a:defRPr sz="1600" b="1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Calibri" pitchFamily="34" charset="0"/>
        <a:buChar char="→"/>
        <a:defRPr sz="1600">
          <a:solidFill>
            <a:schemeClr val="tx1"/>
          </a:solidFill>
          <a:latin typeface="+mn-lt"/>
          <a:cs typeface="+mn-cs"/>
        </a:defRPr>
      </a:lvl2pPr>
      <a:lvl3pPr marL="457200" indent="-230400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•"/>
        <a:defRPr sz="1600">
          <a:solidFill>
            <a:schemeClr val="tx1"/>
          </a:solidFill>
          <a:latin typeface="+mn-lt"/>
          <a:cs typeface="+mn-cs"/>
        </a:defRPr>
      </a:lvl3pPr>
      <a:lvl4pPr marL="914400" indent="-230400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Calibri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4pPr>
      <a:lvl5pPr marL="1371600" indent="-230400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24558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9130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33702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8274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/>
          <p:cNvSpPr>
            <a:spLocks noGrp="1"/>
          </p:cNvSpPr>
          <p:nvPr>
            <p:ph type="body" sz="quarter" idx="10"/>
          </p:nvPr>
        </p:nvSpPr>
        <p:spPr>
          <a:xfrm>
            <a:off x="434976" y="1509713"/>
            <a:ext cx="8274051" cy="3359447"/>
          </a:xfrm>
        </p:spPr>
        <p:txBody>
          <a:bodyPr anchor="ctr"/>
          <a:lstStyle/>
          <a:p>
            <a:pPr marL="0" indent="0" algn="ctr">
              <a:buNone/>
            </a:pPr>
            <a:r>
              <a:rPr lang="it-IT" sz="4800" b="1" dirty="0" smtClean="0"/>
              <a:t>Graduatoria di mobilità</a:t>
            </a:r>
            <a:endParaRPr lang="it-IT" b="1" dirty="0"/>
          </a:p>
        </p:txBody>
      </p:sp>
    </p:spTree>
    <p:extLst>
      <p:ext uri="{BB962C8B-B14F-4D97-AF65-F5344CB8AC3E}">
        <p14:creationId xmlns:p14="http://schemas.microsoft.com/office/powerpoint/2010/main" val="2218411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Sintesi dei movimenti</a:t>
            </a:r>
            <a:endParaRPr lang="it-IT" dirty="0"/>
          </a:p>
        </p:txBody>
      </p:sp>
      <p:sp>
        <p:nvSpPr>
          <p:cNvPr id="3" name="AutoShape 15"/>
          <p:cNvSpPr>
            <a:spLocks noChangeArrowheads="1"/>
          </p:cNvSpPr>
          <p:nvPr/>
        </p:nvSpPr>
        <p:spPr bwMode="auto">
          <a:xfrm>
            <a:off x="124001" y="1596102"/>
            <a:ext cx="1423663" cy="1116616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rgbClr val="0047A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89000" fontAlgn="base"/>
            <a:r>
              <a:rPr lang="it-IT" sz="1400" b="1" dirty="0" smtClean="0">
                <a:solidFill>
                  <a:srgbClr val="0047A9"/>
                </a:solidFill>
              </a:rPr>
              <a:t>Portalettere</a:t>
            </a:r>
            <a:endParaRPr lang="it-IT" sz="1400" b="1" dirty="0">
              <a:solidFill>
                <a:srgbClr val="0047A9"/>
              </a:solidFill>
            </a:endParaRPr>
          </a:p>
        </p:txBody>
      </p:sp>
      <p:sp>
        <p:nvSpPr>
          <p:cNvPr id="4" name="AutoShape 15"/>
          <p:cNvSpPr>
            <a:spLocks noChangeArrowheads="1"/>
          </p:cNvSpPr>
          <p:nvPr/>
        </p:nvSpPr>
        <p:spPr bwMode="auto">
          <a:xfrm>
            <a:off x="124001" y="3284984"/>
            <a:ext cx="1423663" cy="1116616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rgbClr val="0047A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89000" fontAlgn="base"/>
            <a:r>
              <a:rPr lang="it-IT" sz="1400" b="1" dirty="0">
                <a:solidFill>
                  <a:srgbClr val="0047A9"/>
                </a:solidFill>
              </a:rPr>
              <a:t>Lavorazioni Interne - Smistamento</a:t>
            </a:r>
          </a:p>
        </p:txBody>
      </p:sp>
      <p:sp>
        <p:nvSpPr>
          <p:cNvPr id="5" name="AutoShape 15"/>
          <p:cNvSpPr>
            <a:spLocks noChangeArrowheads="1"/>
          </p:cNvSpPr>
          <p:nvPr/>
        </p:nvSpPr>
        <p:spPr bwMode="auto">
          <a:xfrm>
            <a:off x="1619672" y="1592304"/>
            <a:ext cx="3960440" cy="111661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>
            <a:outerShdw dist="53882" dir="2700000" algn="ctr" rotWithShape="0">
              <a:schemeClr val="bg2">
                <a:alpha val="50000"/>
              </a:schemeClr>
            </a:outerShdw>
          </a:effectLst>
        </p:spPr>
        <p:txBody>
          <a:bodyPr lIns="72000" tIns="72000" rIns="72000" bIns="72000" anchor="ctr"/>
          <a:lstStyle/>
          <a:p>
            <a:r>
              <a:rPr lang="it-IT" sz="1400" dirty="0" smtClean="0">
                <a:solidFill>
                  <a:srgbClr val="0047A9"/>
                </a:solidFill>
              </a:rPr>
              <a:t>51 </a:t>
            </a:r>
            <a:r>
              <a:rPr lang="it-IT" sz="1400" dirty="0" smtClean="0">
                <a:solidFill>
                  <a:srgbClr val="0047A9"/>
                </a:solidFill>
              </a:rPr>
              <a:t>risorse dalla graduatoria dei Full Time</a:t>
            </a:r>
          </a:p>
          <a:p>
            <a:endParaRPr lang="it-IT" sz="1400" dirty="0" smtClean="0">
              <a:solidFill>
                <a:srgbClr val="0047A9"/>
              </a:solidFill>
            </a:endParaRPr>
          </a:p>
          <a:p>
            <a:r>
              <a:rPr lang="it-IT" sz="1400" dirty="0" smtClean="0">
                <a:solidFill>
                  <a:srgbClr val="0047A9"/>
                </a:solidFill>
              </a:rPr>
              <a:t>20 </a:t>
            </a:r>
            <a:r>
              <a:rPr lang="it-IT" sz="1400" dirty="0">
                <a:solidFill>
                  <a:srgbClr val="0047A9"/>
                </a:solidFill>
              </a:rPr>
              <a:t>risorse dalla graduatoria dei </a:t>
            </a:r>
            <a:r>
              <a:rPr lang="it-IT" sz="1400" dirty="0" smtClean="0">
                <a:solidFill>
                  <a:srgbClr val="0047A9"/>
                </a:solidFill>
              </a:rPr>
              <a:t>Part Time</a:t>
            </a:r>
            <a:endParaRPr lang="it-IT" sz="1400" dirty="0">
              <a:solidFill>
                <a:srgbClr val="0047A9"/>
              </a:solidFill>
            </a:endParaRPr>
          </a:p>
        </p:txBody>
      </p:sp>
      <p:sp>
        <p:nvSpPr>
          <p:cNvPr id="7" name="AutoShape 15"/>
          <p:cNvSpPr>
            <a:spLocks noChangeArrowheads="1"/>
          </p:cNvSpPr>
          <p:nvPr/>
        </p:nvSpPr>
        <p:spPr bwMode="auto">
          <a:xfrm>
            <a:off x="1619672" y="3284984"/>
            <a:ext cx="3960440" cy="111661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>
            <a:outerShdw dist="53882" dir="2700000" algn="ctr" rotWithShape="0">
              <a:schemeClr val="bg2">
                <a:alpha val="50000"/>
              </a:schemeClr>
            </a:outerShdw>
          </a:effectLst>
        </p:spPr>
        <p:txBody>
          <a:bodyPr lIns="72000" tIns="72000" rIns="72000" bIns="72000" anchor="ctr"/>
          <a:lstStyle/>
          <a:p>
            <a:r>
              <a:rPr lang="it-IT" sz="1400" dirty="0" smtClean="0">
                <a:solidFill>
                  <a:srgbClr val="0047A9"/>
                </a:solidFill>
              </a:rPr>
              <a:t>24 risorse dalla graduatoria dei Full Time</a:t>
            </a:r>
          </a:p>
          <a:p>
            <a:endParaRPr lang="it-IT" sz="1400" dirty="0" smtClean="0">
              <a:solidFill>
                <a:srgbClr val="0047A9"/>
              </a:solidFill>
            </a:endParaRPr>
          </a:p>
          <a:p>
            <a:r>
              <a:rPr lang="it-IT" sz="1400" dirty="0" smtClean="0">
                <a:solidFill>
                  <a:srgbClr val="0047A9"/>
                </a:solidFill>
              </a:rPr>
              <a:t>5 </a:t>
            </a:r>
            <a:r>
              <a:rPr lang="it-IT" sz="1400" dirty="0">
                <a:solidFill>
                  <a:srgbClr val="0047A9"/>
                </a:solidFill>
              </a:rPr>
              <a:t>risorse dalla graduatoria dei </a:t>
            </a:r>
            <a:r>
              <a:rPr lang="it-IT" sz="1400" dirty="0" smtClean="0">
                <a:solidFill>
                  <a:srgbClr val="0047A9"/>
                </a:solidFill>
              </a:rPr>
              <a:t>Part Time</a:t>
            </a:r>
            <a:endParaRPr lang="it-IT" sz="1400" dirty="0">
              <a:solidFill>
                <a:srgbClr val="0047A9"/>
              </a:solidFill>
            </a:endParaRPr>
          </a:p>
        </p:txBody>
      </p:sp>
      <p:sp>
        <p:nvSpPr>
          <p:cNvPr id="8" name="AutoShape 15"/>
          <p:cNvSpPr>
            <a:spLocks noChangeArrowheads="1"/>
          </p:cNvSpPr>
          <p:nvPr/>
        </p:nvSpPr>
        <p:spPr bwMode="auto">
          <a:xfrm>
            <a:off x="124001" y="4797152"/>
            <a:ext cx="1423663" cy="1116616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rgbClr val="0047A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89000" fontAlgn="base"/>
            <a:r>
              <a:rPr lang="it-IT" sz="1400" b="1" dirty="0" smtClean="0">
                <a:solidFill>
                  <a:srgbClr val="0047A9"/>
                </a:solidFill>
              </a:rPr>
              <a:t>Totale</a:t>
            </a:r>
            <a:endParaRPr lang="it-IT" sz="1400" b="1" dirty="0">
              <a:solidFill>
                <a:srgbClr val="0047A9"/>
              </a:solidFill>
            </a:endParaRPr>
          </a:p>
        </p:txBody>
      </p:sp>
      <p:sp>
        <p:nvSpPr>
          <p:cNvPr id="9" name="AutoShape 15"/>
          <p:cNvSpPr>
            <a:spLocks noChangeArrowheads="1"/>
          </p:cNvSpPr>
          <p:nvPr/>
        </p:nvSpPr>
        <p:spPr bwMode="auto">
          <a:xfrm>
            <a:off x="1619672" y="4797152"/>
            <a:ext cx="3960440" cy="111661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>
            <a:outerShdw dist="53882" dir="2700000" algn="ctr" rotWithShape="0">
              <a:schemeClr val="bg2">
                <a:alpha val="50000"/>
              </a:schemeClr>
            </a:outerShdw>
          </a:effectLst>
        </p:spPr>
        <p:txBody>
          <a:bodyPr lIns="72000" tIns="72000" rIns="72000" bIns="72000" anchor="ctr"/>
          <a:lstStyle/>
          <a:p>
            <a:r>
              <a:rPr lang="it-IT" sz="1400" b="1" dirty="0" smtClean="0">
                <a:solidFill>
                  <a:srgbClr val="0047A9"/>
                </a:solidFill>
              </a:rPr>
              <a:t>100 </a:t>
            </a:r>
            <a:r>
              <a:rPr lang="it-IT" sz="1400" b="1" dirty="0" smtClean="0">
                <a:solidFill>
                  <a:srgbClr val="0047A9"/>
                </a:solidFill>
              </a:rPr>
              <a:t>movimenti</a:t>
            </a:r>
            <a:endParaRPr lang="it-IT" sz="1400" b="1" dirty="0">
              <a:solidFill>
                <a:srgbClr val="0047A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5577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1"/>
          <p:cNvSpPr>
            <a:spLocks noGrp="1"/>
          </p:cNvSpPr>
          <p:nvPr>
            <p:ph type="title"/>
          </p:nvPr>
        </p:nvSpPr>
        <p:spPr>
          <a:xfrm>
            <a:off x="434975" y="332655"/>
            <a:ext cx="8274050" cy="662707"/>
          </a:xfrm>
        </p:spPr>
        <p:txBody>
          <a:bodyPr/>
          <a:lstStyle/>
          <a:p>
            <a:r>
              <a:rPr lang="it-IT" dirty="0" smtClean="0"/>
              <a:t>Dettaglio movimenti Graduatoria Portalettere (1/4)</a:t>
            </a:r>
            <a:endParaRPr lang="it-IT" dirty="0"/>
          </a:p>
        </p:txBody>
      </p:sp>
      <p:pic>
        <p:nvPicPr>
          <p:cNvPr id="13413377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688" y="1087438"/>
            <a:ext cx="8047037" cy="5257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63828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1"/>
          <p:cNvSpPr>
            <a:spLocks noGrp="1"/>
          </p:cNvSpPr>
          <p:nvPr>
            <p:ph type="title"/>
          </p:nvPr>
        </p:nvSpPr>
        <p:spPr>
          <a:xfrm>
            <a:off x="434975" y="332655"/>
            <a:ext cx="8274050" cy="662707"/>
          </a:xfrm>
        </p:spPr>
        <p:txBody>
          <a:bodyPr/>
          <a:lstStyle/>
          <a:p>
            <a:r>
              <a:rPr lang="it-IT" dirty="0" smtClean="0"/>
              <a:t>Dettaglio movimenti Graduatoria Portalettere (2/4</a:t>
            </a:r>
            <a:r>
              <a:rPr lang="it-IT" dirty="0"/>
              <a:t>)</a:t>
            </a:r>
          </a:p>
        </p:txBody>
      </p:sp>
      <p:pic>
        <p:nvPicPr>
          <p:cNvPr id="1341337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188" y="1269726"/>
            <a:ext cx="8599746" cy="46075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994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1"/>
          <p:cNvSpPr>
            <a:spLocks noGrp="1"/>
          </p:cNvSpPr>
          <p:nvPr>
            <p:ph type="title"/>
          </p:nvPr>
        </p:nvSpPr>
        <p:spPr>
          <a:xfrm>
            <a:off x="434975" y="332655"/>
            <a:ext cx="8274050" cy="662707"/>
          </a:xfrm>
        </p:spPr>
        <p:txBody>
          <a:bodyPr/>
          <a:lstStyle/>
          <a:p>
            <a:r>
              <a:rPr lang="it-IT" dirty="0" smtClean="0"/>
              <a:t>Dettaglio movimenti </a:t>
            </a:r>
            <a:r>
              <a:rPr lang="it-IT" smtClean="0"/>
              <a:t>Graduatoria Portalettere (3/4</a:t>
            </a:r>
            <a:r>
              <a:rPr lang="it-IT"/>
              <a:t>)</a:t>
            </a:r>
            <a:endParaRPr lang="it-IT" dirty="0"/>
          </a:p>
        </p:txBody>
      </p:sp>
      <p:pic>
        <p:nvPicPr>
          <p:cNvPr id="1341440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472332"/>
            <a:ext cx="8712968" cy="440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30017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1"/>
          <p:cNvSpPr>
            <a:spLocks noGrp="1"/>
          </p:cNvSpPr>
          <p:nvPr>
            <p:ph type="title"/>
          </p:nvPr>
        </p:nvSpPr>
        <p:spPr>
          <a:xfrm>
            <a:off x="434975" y="332655"/>
            <a:ext cx="8274050" cy="662707"/>
          </a:xfrm>
        </p:spPr>
        <p:txBody>
          <a:bodyPr/>
          <a:lstStyle/>
          <a:p>
            <a:r>
              <a:rPr lang="it-IT" dirty="0" smtClean="0"/>
              <a:t>Dettaglio movimenti Graduatoria Portalettere (4/4</a:t>
            </a:r>
            <a:r>
              <a:rPr lang="it-IT" dirty="0"/>
              <a:t>)</a:t>
            </a:r>
          </a:p>
        </p:txBody>
      </p:sp>
      <p:pic>
        <p:nvPicPr>
          <p:cNvPr id="134154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168" y="2130102"/>
            <a:ext cx="8386795" cy="2658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1934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1"/>
          <p:cNvSpPr>
            <a:spLocks noGrp="1"/>
          </p:cNvSpPr>
          <p:nvPr>
            <p:ph type="title"/>
          </p:nvPr>
        </p:nvSpPr>
        <p:spPr>
          <a:xfrm>
            <a:off x="142875" y="332655"/>
            <a:ext cx="8893621" cy="662707"/>
          </a:xfrm>
        </p:spPr>
        <p:txBody>
          <a:bodyPr/>
          <a:lstStyle/>
          <a:p>
            <a:r>
              <a:rPr lang="it-IT" sz="2200" dirty="0" smtClean="0"/>
              <a:t>Dettaglio movimenti </a:t>
            </a:r>
            <a:r>
              <a:rPr lang="it-IT" sz="2200" dirty="0"/>
              <a:t>Graduatoria Lavorazioni Interne </a:t>
            </a:r>
            <a:r>
              <a:rPr lang="it-IT" sz="2200" dirty="0" smtClean="0"/>
              <a:t>– Smistamento (1/2)</a:t>
            </a:r>
            <a:endParaRPr lang="it-IT" sz="2200" dirty="0"/>
          </a:p>
        </p:txBody>
      </p:sp>
      <p:pic>
        <p:nvPicPr>
          <p:cNvPr id="1341747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875" y="1162050"/>
            <a:ext cx="8856663" cy="4533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85441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4184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875" y="1262063"/>
            <a:ext cx="8856663" cy="433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itolo 1"/>
          <p:cNvSpPr>
            <a:spLocks noGrp="1"/>
          </p:cNvSpPr>
          <p:nvPr>
            <p:ph type="title"/>
          </p:nvPr>
        </p:nvSpPr>
        <p:spPr>
          <a:xfrm>
            <a:off x="142875" y="332655"/>
            <a:ext cx="8893621" cy="662707"/>
          </a:xfrm>
        </p:spPr>
        <p:txBody>
          <a:bodyPr/>
          <a:lstStyle/>
          <a:p>
            <a:r>
              <a:rPr lang="it-IT" sz="2200" dirty="0" smtClean="0"/>
              <a:t>Dettaglio movimenti </a:t>
            </a:r>
            <a:r>
              <a:rPr lang="it-IT" sz="2200" dirty="0"/>
              <a:t>Graduatoria Lavorazioni Interne </a:t>
            </a:r>
            <a:r>
              <a:rPr lang="it-IT" sz="2200" dirty="0" smtClean="0"/>
              <a:t>– Smistamento (2/2)</a:t>
            </a:r>
            <a:endParaRPr lang="it-IT" sz="2200" dirty="0"/>
          </a:p>
        </p:txBody>
      </p:sp>
    </p:spTree>
    <p:extLst>
      <p:ext uri="{BB962C8B-B14F-4D97-AF65-F5344CB8AC3E}">
        <p14:creationId xmlns:p14="http://schemas.microsoft.com/office/powerpoint/2010/main" val="368132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oste">
  <a:themeElements>
    <a:clrScheme name="Poste">
      <a:dk1>
        <a:srgbClr val="0047A9"/>
      </a:dk1>
      <a:lt1>
        <a:srgbClr val="FFFFFF"/>
      </a:lt1>
      <a:dk2>
        <a:srgbClr val="0047A9"/>
      </a:dk2>
      <a:lt2>
        <a:srgbClr val="808080"/>
      </a:lt2>
      <a:accent1>
        <a:srgbClr val="E2E2E2"/>
      </a:accent1>
      <a:accent2>
        <a:srgbClr val="D2E0E6"/>
      </a:accent2>
      <a:accent3>
        <a:srgbClr val="FFFFFF"/>
      </a:accent3>
      <a:accent4>
        <a:srgbClr val="0047A9"/>
      </a:accent4>
      <a:accent5>
        <a:srgbClr val="EEEEEE"/>
      </a:accent5>
      <a:accent6>
        <a:srgbClr val="B2C7CA"/>
      </a:accent6>
      <a:hlink>
        <a:srgbClr val="376092"/>
      </a:hlink>
      <a:folHlink>
        <a:srgbClr val="8DB4E2"/>
      </a:folHlink>
    </a:clrScheme>
    <a:fontScheme name="Poste">
      <a:majorFont>
        <a:latin typeface="Calibri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  <a:noAutofit/>
      </a:bodyPr>
      <a:lstStyle>
        <a:defPPr marL="0" marR="0" indent="0" algn="ctr" defTabSz="889000" rtl="0" eaLnBrk="1" fontAlgn="base" latinLnBrk="0" hangingPunct="1">
          <a:defRPr kumimoji="0" sz="1400" b="0" i="0" u="none" strike="noStrike" cap="none" normalizeH="0" baseline="0" dirty="0" err="1" smtClean="0">
            <a:solidFill>
              <a:schemeClr val="tx1"/>
            </a:solidFill>
            <a:effectLst/>
            <a:latin typeface="+mn-lt"/>
            <a:cs typeface="+mn-cs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anchor="t" anchorCtr="0" compatLnSpc="1">
        <a:prstTxWarp prst="textNoShape">
          <a:avLst/>
        </a:prstTxWarp>
        <a:spAutoFit/>
      </a:bodyPr>
      <a:lstStyle>
        <a:defPPr marL="0" marR="0" indent="0" algn="ctr" defTabSz="8890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+mn-lt"/>
            <a:cs typeface="+mn-cs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>
    <a:extraClrScheme>
      <a:clrScheme name="Letter 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3">
        <a:dk1>
          <a:srgbClr val="000000"/>
        </a:dk1>
        <a:lt1>
          <a:srgbClr val="FFFFFF"/>
        </a:lt1>
        <a:dk2>
          <a:srgbClr val="345782"/>
        </a:dk2>
        <a:lt2>
          <a:srgbClr val="808080"/>
        </a:lt2>
        <a:accent1>
          <a:srgbClr val="E2E2E2"/>
        </a:accent1>
        <a:accent2>
          <a:srgbClr val="C5DCDF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2C7CA"/>
        </a:accent6>
        <a:hlink>
          <a:srgbClr val="5D8BA7"/>
        </a:hlink>
        <a:folHlink>
          <a:srgbClr val="9CBD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491</TotalTime>
  <Words>90</Words>
  <Application>Microsoft Office PowerPoint</Application>
  <PresentationFormat>Presentazione su schermo (4:3)</PresentationFormat>
  <Paragraphs>18</Paragraphs>
  <Slides>8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8</vt:i4>
      </vt:variant>
    </vt:vector>
  </HeadingPairs>
  <TitlesOfParts>
    <vt:vector size="10" baseType="lpstr">
      <vt:lpstr>Poste</vt:lpstr>
      <vt:lpstr>think-cell Slide</vt:lpstr>
      <vt:lpstr>Presentazione standard di PowerPoint</vt:lpstr>
      <vt:lpstr>Sintesi dei movimenti</vt:lpstr>
      <vt:lpstr>Dettaglio movimenti Graduatoria Portalettere (1/4)</vt:lpstr>
      <vt:lpstr>Dettaglio movimenti Graduatoria Portalettere (2/4)</vt:lpstr>
      <vt:lpstr>Dettaglio movimenti Graduatoria Portalettere (3/4)</vt:lpstr>
      <vt:lpstr>Dettaglio movimenti Graduatoria Portalettere (4/4)</vt:lpstr>
      <vt:lpstr>Dettaglio movimenti Graduatoria Lavorazioni Interne – Smistamento (1/2)</vt:lpstr>
      <vt:lpstr>Dettaglio movimenti Graduatoria Lavorazioni Interne – Smistamento (2/2)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Admin</dc:creator>
  <cp:lastModifiedBy>Garofalo</cp:lastModifiedBy>
  <cp:revision>422</cp:revision>
  <cp:lastPrinted>2015-11-11T08:33:58Z</cp:lastPrinted>
  <dcterms:created xsi:type="dcterms:W3CDTF">2015-05-07T10:30:02Z</dcterms:created>
  <dcterms:modified xsi:type="dcterms:W3CDTF">2015-11-12T17:50:41Z</dcterms:modified>
</cp:coreProperties>
</file>